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1"/>
    <p:sldMasterId id="2147483650" r:id="rId2"/>
  </p:sldMasterIdLst>
  <p:notesMasterIdLst>
    <p:notesMasterId r:id="rId10"/>
  </p:notesMasterIdLst>
  <p:sldIdLst>
    <p:sldId id="310" r:id="rId3"/>
    <p:sldId id="336" r:id="rId4"/>
    <p:sldId id="344" r:id="rId5"/>
    <p:sldId id="375" r:id="rId6"/>
    <p:sldId id="374" r:id="rId7"/>
    <p:sldId id="376" r:id="rId8"/>
    <p:sldId id="311" r:id="rId9"/>
  </p:sldIdLst>
  <p:sldSz cx="12192000" cy="6858000"/>
  <p:notesSz cx="6858000" cy="9144000"/>
  <p:custDataLst>
    <p:tags r:id="rId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B8DADED-8BF0-4F06-B4B7-FE3297705B54}">
  <a:tblStyle styleId="{4B8DADED-8BF0-4F06-B4B7-FE3297705B5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805B279-2762-406B-89E3-82B650EC0748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68"/>
    <p:restoredTop sz="71910" autoAdjust="0"/>
  </p:normalViewPr>
  <p:slideViewPr>
    <p:cSldViewPr snapToGrid="0">
      <p:cViewPr varScale="1">
        <p:scale>
          <a:sx n="62" d="100"/>
          <a:sy n="62" d="100"/>
        </p:scale>
        <p:origin x="1541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自定义版式">
  <p:cSld name="自定义版式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673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BAEC-ECBB-064A-AE74-DD4E4D96F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F9A100-7918-0F48-AA34-0DBE6285CC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274B80-8186-3F4E-A48E-470E69D61F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50ADB-2FFE-8646-A622-DCC7636C6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0365FC-BE5E-FC4C-9DD8-0E1BB7B41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52B365-0BDE-1243-897C-EEE749015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159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5AE7D-3604-8646-9851-3748D9D86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ACFF48-4F0C-8348-B7A8-E48E9ED539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001072-1776-2241-A8CB-7132207DB4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C70061-3687-C24F-B746-6B16251903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E30946-FA1B-B549-9594-C7C93FDCA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BDFD39-EE95-8646-9C9B-A6668D72E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11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C40D3-13B6-EC49-9305-6CFC7B34F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EAB8E6-A6CD-3940-8466-8CEC8E54FF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85C766-34DB-8A40-A69D-8E7887FD8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E7F36-4ECB-F94F-8447-E345172CB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211E08-CF52-594C-959A-BD6A9F88D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598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FCD2CA-4C53-FA4C-914C-52C395B3F1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BFA04D-AF2B-6547-8ACD-6BAD40023C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F8C338-922F-5948-AFE3-26F5A98C4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946C4F-3AA7-274E-A5B6-278C1A286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FA2806-2026-4C48-900C-6A5AC8317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0627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169B67A-E5EA-4A92-9FC8-AC4B3FCA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315" y="136525"/>
            <a:ext cx="10515600" cy="8042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E20B8C8-5B12-4486-8254-4B4070AC6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315" y="1253331"/>
            <a:ext cx="10515600" cy="53584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24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FD97D-9B80-7349-B2B1-71767F4C1E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7AF0CC-7895-B24A-8E82-504C8B371E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631819-8205-3549-848D-9E153E3A3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5EF3-7095-CA49-B331-C81E6B0BF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E1947-1E4F-614D-85E1-F9AE045AC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227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A5535-AB1C-AB46-9F6E-2ACB7697A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874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9666F6-AD04-6042-ACFE-3A2CF35B39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9924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ABBC2-1934-0549-A0BB-4AB9AEF64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F48EBC-90B3-F545-9C1E-263AD4BFD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582C4-5E62-F14F-9B67-D49DA2649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78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D3DAF-E020-C540-A72E-6682DD612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167CFB-B0F1-744F-909E-59F9181F8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A7F257-137F-DC40-AA15-AE103EC84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9CD92-FA97-B74D-BF27-1404AB3B9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FA7745-A283-D048-ADFB-17DA51435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965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2A4A7-30F4-1F4E-9B13-9D2E11750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93C87F-F549-D549-818F-9D15F3BD62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8179B2-BB2E-DA42-8CEC-709474D99C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FA77C4-1C4A-6A44-AD15-9FDF1B6E5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BDFF01-B592-DF46-8E9E-0102794C2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B6D075-F6D8-9F46-A718-B877410FC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945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58A3B-DA61-9348-9CB3-12DE5BAB1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F2ACE2-59F4-B840-9F9A-D485A2E863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F7EAA3-AD8C-8345-9027-156F3D1A83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3A3E2D-6455-7D4F-B095-E476B6504C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70CFBB-B24A-AC4C-B177-53B8C0A1CB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E0E9FD-0D63-CC40-8F7B-419E37CBD3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334ACA3-434D-764D-A1F5-E68AF6342A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56DB07-D9E1-E24D-95FC-145FAF40E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50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D39C1-147E-1442-8F3A-4282F7C5F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7CE232-3654-0340-8A19-F3B21CC85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E7FA11-CC58-A245-9CB7-7CDFECD24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38AF5B-DE67-C146-89AF-AD07BE80A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20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057181-16C3-A24A-AE86-06BF50902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3DCB20-E5D1-7144-8476-1145F9576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2A36E-BCBB-2247-AA00-F6B844C0E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328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35341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hape 7"/>
          <p:cNvCxnSpPr/>
          <p:nvPr/>
        </p:nvCxnSpPr>
        <p:spPr>
          <a:xfrm>
            <a:off x="-9144" y="1083928"/>
            <a:ext cx="12198096" cy="0"/>
          </a:xfrm>
          <a:prstGeom prst="straightConnector1">
            <a:avLst/>
          </a:prstGeom>
          <a:noFill/>
          <a:ln w="28575" cap="flat" cmpd="sng">
            <a:solidFill>
              <a:srgbClr val="9CC2E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8" name="Shape 8"/>
          <p:cNvCxnSpPr/>
          <p:nvPr/>
        </p:nvCxnSpPr>
        <p:spPr>
          <a:xfrm>
            <a:off x="-9144" y="1033272"/>
            <a:ext cx="12198096" cy="0"/>
          </a:xfrm>
          <a:prstGeom prst="straightConnector1">
            <a:avLst/>
          </a:prstGeom>
          <a:noFill/>
          <a:ln w="57150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018953" y="-1"/>
            <a:ext cx="1170000" cy="982617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62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BCAD98-ADF9-304E-AEC0-C288B8874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23BCAD-9DC3-4B4E-9041-BB01C8CBD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0E1949-D20D-EE42-93FC-DE60210476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19F914-E5EE-FB49-9C05-E7A828DED5D4}" type="datetimeFigureOut">
              <a:rPr lang="en-US" smtClean="0"/>
              <a:t>8/20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45F2C-014A-FA46-95F3-6E0FF530F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8116B-D240-3541-BBB3-F544057E91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D838D9-7E98-EF4C-8AC8-9481AAF37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977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0EA0A89-31AD-744C-A4B2-190F21CF84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117" t="27047" r="18385" b="23626"/>
          <a:stretch/>
        </p:blipFill>
        <p:spPr>
          <a:xfrm>
            <a:off x="10455965" y="357809"/>
            <a:ext cx="1298714" cy="102369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E74B4C6-7764-C240-A11B-C40C9C7605E1}"/>
              </a:ext>
            </a:extLst>
          </p:cNvPr>
          <p:cNvSpPr/>
          <p:nvPr/>
        </p:nvSpPr>
        <p:spPr>
          <a:xfrm>
            <a:off x="4469727" y="3599108"/>
            <a:ext cx="32488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C50001"/>
              </a:buClr>
            </a:pPr>
            <a:r>
              <a:rPr lang="en-US" altLang="zh-CN" sz="3200" dirty="0">
                <a:latin typeface="Arial" panose="020B0604020202020204" pitchFamily="34" charset="0"/>
                <a:ea typeface="STXingkai" charset="-122"/>
                <a:cs typeface="Arial" panose="020B0604020202020204" pitchFamily="34" charset="0"/>
              </a:rPr>
              <a:t>Tan See Youu</a:t>
            </a:r>
            <a:endParaRPr lang="zh-CN" altLang="en-US" sz="3200" dirty="0">
              <a:latin typeface="Arial" panose="020B0604020202020204" pitchFamily="34" charset="0"/>
              <a:ea typeface="STXingkai" charset="-122"/>
              <a:cs typeface="Arial" panose="020B0604020202020204" pitchFamily="34" charset="0"/>
            </a:endParaRP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2D0B4630-1FAF-7140-BB46-58D437D46AD1}"/>
              </a:ext>
            </a:extLst>
          </p:cNvPr>
          <p:cNvSpPr txBox="1">
            <a:spLocks/>
          </p:cNvSpPr>
          <p:nvPr/>
        </p:nvSpPr>
        <p:spPr>
          <a:xfrm>
            <a:off x="2302501" y="1740545"/>
            <a:ext cx="7583287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4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Lesson 4</a:t>
            </a:r>
            <a:endParaRPr lang="zh-CN" altLang="en-US" sz="4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1B8EBE0C-9B7F-1D46-81AE-F3AE79DA31A9}"/>
              </a:ext>
            </a:extLst>
          </p:cNvPr>
          <p:cNvSpPr txBox="1">
            <a:spLocks/>
          </p:cNvSpPr>
          <p:nvPr/>
        </p:nvSpPr>
        <p:spPr>
          <a:xfrm>
            <a:off x="1286697" y="2987003"/>
            <a:ext cx="9614893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Get rid of bugs and error - Error handling and logging</a:t>
            </a:r>
            <a:endParaRPr lang="zh-CN" altLang="en-US" sz="2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905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>
            <a:extLst>
              <a:ext uri="{FF2B5EF4-FFF2-40B4-BE49-F238E27FC236}">
                <a16:creationId xmlns:a16="http://schemas.microsoft.com/office/drawing/2014/main" id="{7D63761F-CE6F-2D43-A07D-22B3BCA85533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What </a:t>
            </a:r>
            <a:r>
              <a:rPr lang="en-SG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will cover today?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DF7ABD9-F38A-4544-8AA8-FB5332692A1E}"/>
              </a:ext>
            </a:extLst>
          </p:cNvPr>
          <p:cNvSpPr/>
          <p:nvPr/>
        </p:nvSpPr>
        <p:spPr>
          <a:xfrm>
            <a:off x="467348" y="1305043"/>
            <a:ext cx="11304442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Introduction to logging package</a:t>
            </a:r>
          </a:p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Introduction to Python exception handling</a:t>
            </a:r>
          </a:p>
          <a:p>
            <a:pPr marL="285750" indent="-285750">
              <a:buClr>
                <a:srgbClr val="0070C0"/>
              </a:buClr>
              <a:buFont typeface="Wingdings" charset="2"/>
              <a:buChar char="q"/>
            </a:pPr>
            <a:r>
              <a:rPr lang="en-US" altLang="zh-CN" sz="2600" dirty="0">
                <a:latin typeface="Arial" panose="020B0604020202020204" pitchFamily="34" charset="0"/>
                <a:ea typeface="STXinwei" charset="-122"/>
                <a:cs typeface="Arial" panose="020B0604020202020204" pitchFamily="34" charset="0"/>
              </a:rPr>
              <a:t> Application of exception handling and logging</a:t>
            </a:r>
          </a:p>
        </p:txBody>
      </p:sp>
    </p:spTree>
    <p:extLst>
      <p:ext uri="{BB962C8B-B14F-4D97-AF65-F5344CB8AC3E}">
        <p14:creationId xmlns:p14="http://schemas.microsoft.com/office/powerpoint/2010/main" val="4090477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7B2A235-BAE1-4DBA-B0AE-4E6D30AC98F8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Python logging module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6F8B79A-E37B-40BB-B380-2E44681833C0}"/>
              </a:ext>
            </a:extLst>
          </p:cNvPr>
          <p:cNvSpPr/>
          <p:nvPr/>
        </p:nvSpPr>
        <p:spPr>
          <a:xfrm>
            <a:off x="605481" y="1581665"/>
            <a:ext cx="8538519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/>
              <a:t>This module defines functions and classes which implement a flexible event logging system for applications and librari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398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ACA22-0A33-4EA2-B5CC-FAEEA5FFA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What is an Exception?</a:t>
            </a:r>
            <a:endParaRPr lang="en-SG" sz="3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97F7A3-48D7-42B3-8EDA-B1F1130131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2800" dirty="0"/>
              <a:t>An exception is an error that happens during execution of a program. When that error occurs, Python generate an exception that can be handled, which avoids your program to crash.</a:t>
            </a:r>
            <a:endParaRPr lang="en-SG" sz="2800" dirty="0"/>
          </a:p>
        </p:txBody>
      </p:sp>
    </p:spTree>
    <p:extLst>
      <p:ext uri="{BB962C8B-B14F-4D97-AF65-F5344CB8AC3E}">
        <p14:creationId xmlns:p14="http://schemas.microsoft.com/office/powerpoint/2010/main" val="2428972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46FE55-C293-41DE-8639-221C97574B3B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8303790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Exception handling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A05222-4085-45E4-955D-DD6C5B07ADC5}"/>
              </a:ext>
            </a:extLst>
          </p:cNvPr>
          <p:cNvSpPr txBox="1"/>
          <p:nvPr/>
        </p:nvSpPr>
        <p:spPr>
          <a:xfrm>
            <a:off x="467348" y="1285659"/>
            <a:ext cx="1065637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To use exception handling in Python, you first need to have a catch-all except clause. The words "try" and "except" are Python keywords and are used to catch exceptions. try-except [exception-name] (see examples) blocks The code within the try clause will be executed statement by statement</a:t>
            </a:r>
            <a:endParaRPr lang="en-SG" sz="2800" dirty="0"/>
          </a:p>
        </p:txBody>
      </p:sp>
    </p:spTree>
    <p:extLst>
      <p:ext uri="{BB962C8B-B14F-4D97-AF65-F5344CB8AC3E}">
        <p14:creationId xmlns:p14="http://schemas.microsoft.com/office/powerpoint/2010/main" val="11249579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095F26-81C6-44A7-9BB5-CBF705A48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Exception Errors</a:t>
            </a:r>
            <a:endParaRPr lang="en-SG" sz="3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3A0552-9507-4ADA-BAD2-68EE8948CF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Below are some common exceptions errors in Python:</a:t>
            </a:r>
          </a:p>
          <a:p>
            <a:r>
              <a:rPr lang="en-US" sz="2000" dirty="0" err="1"/>
              <a:t>IOError</a:t>
            </a:r>
            <a:endParaRPr lang="en-US" sz="2000" dirty="0"/>
          </a:p>
          <a:p>
            <a:r>
              <a:rPr lang="en-US" sz="2000" dirty="0"/>
              <a:t>If the file cannot be opened.</a:t>
            </a:r>
          </a:p>
          <a:p>
            <a:endParaRPr lang="en-US" sz="2000" dirty="0"/>
          </a:p>
          <a:p>
            <a:r>
              <a:rPr lang="en-US" sz="2000" dirty="0" err="1"/>
              <a:t>ImportError</a:t>
            </a:r>
            <a:endParaRPr lang="en-US" sz="2000" dirty="0"/>
          </a:p>
          <a:p>
            <a:r>
              <a:rPr lang="en-US" sz="2000" dirty="0"/>
              <a:t>If python cannot find the module</a:t>
            </a:r>
          </a:p>
          <a:p>
            <a:endParaRPr lang="en-US" sz="2000" dirty="0"/>
          </a:p>
          <a:p>
            <a:r>
              <a:rPr lang="en-US" sz="2000" dirty="0" err="1"/>
              <a:t>ValueError</a:t>
            </a:r>
            <a:endParaRPr lang="en-US" sz="2000" dirty="0"/>
          </a:p>
          <a:p>
            <a:r>
              <a:rPr lang="en-US" sz="2000" dirty="0"/>
              <a:t>Raised when a built-in operation or function receives an argument that has the</a:t>
            </a:r>
          </a:p>
          <a:p>
            <a:r>
              <a:rPr lang="en-US" sz="2000" dirty="0"/>
              <a:t>right type but an inappropriate value</a:t>
            </a:r>
          </a:p>
          <a:p>
            <a:endParaRPr lang="en-US" sz="2000" dirty="0"/>
          </a:p>
          <a:p>
            <a:r>
              <a:rPr lang="en-US" sz="2000" dirty="0" err="1"/>
              <a:t>KeyboardInterrupt</a:t>
            </a:r>
            <a:endParaRPr lang="en-US" sz="2000" dirty="0"/>
          </a:p>
          <a:p>
            <a:r>
              <a:rPr lang="en-US" sz="2000" dirty="0"/>
              <a:t>Raised when the user hits the interrupt key (normally Control-C or Delete)</a:t>
            </a:r>
          </a:p>
          <a:p>
            <a:endParaRPr lang="en-US" sz="2000" dirty="0"/>
          </a:p>
          <a:p>
            <a:r>
              <a:rPr lang="en-US" sz="2000" dirty="0" err="1"/>
              <a:t>EOFError</a:t>
            </a:r>
            <a:endParaRPr lang="en-US" sz="2000" dirty="0"/>
          </a:p>
          <a:p>
            <a:r>
              <a:rPr lang="en-US" sz="2000" dirty="0"/>
              <a:t>Raised when one of the built-in functions (input() or </a:t>
            </a:r>
            <a:r>
              <a:rPr lang="en-US" sz="2000" dirty="0" err="1"/>
              <a:t>raw_input</a:t>
            </a:r>
            <a:r>
              <a:rPr lang="en-US" sz="2000" dirty="0"/>
              <a:t>()) hits an</a:t>
            </a:r>
          </a:p>
          <a:p>
            <a:r>
              <a:rPr lang="en-US" sz="2000" dirty="0"/>
              <a:t>end-of-file condition (EOF) without reading any data</a:t>
            </a:r>
          </a:p>
          <a:p>
            <a:endParaRPr lang="en-SG" sz="2000" dirty="0"/>
          </a:p>
        </p:txBody>
      </p:sp>
    </p:spTree>
    <p:extLst>
      <p:ext uri="{BB962C8B-B14F-4D97-AF65-F5344CB8AC3E}">
        <p14:creationId xmlns:p14="http://schemas.microsoft.com/office/powerpoint/2010/main" val="17722164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>
            <a:extLst>
              <a:ext uri="{FF2B5EF4-FFF2-40B4-BE49-F238E27FC236}">
                <a16:creationId xmlns:a16="http://schemas.microsoft.com/office/drawing/2014/main" id="{7D63761F-CE6F-2D43-A07D-22B3BCA85533}"/>
              </a:ext>
            </a:extLst>
          </p:cNvPr>
          <p:cNvSpPr txBox="1">
            <a:spLocks/>
          </p:cNvSpPr>
          <p:nvPr/>
        </p:nvSpPr>
        <p:spPr>
          <a:xfrm>
            <a:off x="467348" y="259200"/>
            <a:ext cx="6152114" cy="61210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3800" noProof="1">
                <a:latin typeface="Arial" panose="020B0604020202020204" pitchFamily="34" charset="0"/>
                <a:ea typeface="SimHei" charset="-122"/>
                <a:cs typeface="Arial" panose="020B0604020202020204" pitchFamily="34" charset="0"/>
              </a:rPr>
              <a:t>Thank You</a:t>
            </a:r>
            <a:endParaRPr lang="zh-CN" altLang="en-US" sz="3800" noProof="1">
              <a:latin typeface="Arial" panose="020B0604020202020204" pitchFamily="34" charset="0"/>
              <a:ea typeface="SimHei" charset="-122"/>
              <a:cs typeface="Arial" panose="020B0604020202020204" pitchFamily="34" charset="0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99FD951-5F31-1941-B9F7-603E66EC9F24}"/>
              </a:ext>
            </a:extLst>
          </p:cNvPr>
          <p:cNvSpPr txBox="1">
            <a:spLocks/>
          </p:cNvSpPr>
          <p:nvPr/>
        </p:nvSpPr>
        <p:spPr>
          <a:xfrm>
            <a:off x="3698644" y="2544071"/>
            <a:ext cx="4572031" cy="13849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3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Q&amp;A</a:t>
            </a:r>
          </a:p>
        </p:txBody>
      </p:sp>
      <p:pic>
        <p:nvPicPr>
          <p:cNvPr id="9" name="Picture 8" descr="D:\Slidework\Jobs\TechEd2007 - Brian Marble\Template\Design\Round 3\images\Hand.png">
            <a:extLst>
              <a:ext uri="{FF2B5EF4-FFF2-40B4-BE49-F238E27FC236}">
                <a16:creationId xmlns:a16="http://schemas.microsoft.com/office/drawing/2014/main" id="{C6EF0B8E-A1D7-184A-9033-A8C6E2AAC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13023" y="2428868"/>
            <a:ext cx="663575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08917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ularization" id="{EBBC5E59-E9BF-3F4D-B3E2-FAC4D64E879B}" vid="{3002D087-D1D3-9F43-9566-1FC3E3A8CD6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自定义设计方案</Template>
  <TotalTime>33524</TotalTime>
  <Words>251</Words>
  <Application>Microsoft Office PowerPoint</Application>
  <PresentationFormat>Widescreen</PresentationFormat>
  <Paragraphs>34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Wingdings</vt:lpstr>
      <vt:lpstr>自定义设计方案</vt:lpstr>
      <vt:lpstr>Custom Design</vt:lpstr>
      <vt:lpstr>think-cell Slide</vt:lpstr>
      <vt:lpstr>PowerPoint Presentation</vt:lpstr>
      <vt:lpstr>PowerPoint Presentation</vt:lpstr>
      <vt:lpstr>PowerPoint Presentation</vt:lpstr>
      <vt:lpstr>What is an Exception?</vt:lpstr>
      <vt:lpstr>PowerPoint Presentation</vt:lpstr>
      <vt:lpstr>Exception Error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p0246</dc:creator>
  <cp:lastModifiedBy>tan see youu</cp:lastModifiedBy>
  <cp:revision>258</cp:revision>
  <cp:lastPrinted>2018-03-11T04:33:43Z</cp:lastPrinted>
  <dcterms:created xsi:type="dcterms:W3CDTF">2018-11-29T16:14:48Z</dcterms:created>
  <dcterms:modified xsi:type="dcterms:W3CDTF">2019-08-20T16:06:34Z</dcterms:modified>
</cp:coreProperties>
</file>